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8"/>
  </p:notesMasterIdLst>
  <p:sldIdLst>
    <p:sldId id="2142532324" r:id="rId3"/>
    <p:sldId id="2142532334" r:id="rId4"/>
    <p:sldId id="2142532335" r:id="rId5"/>
    <p:sldId id="2142532336" r:id="rId6"/>
    <p:sldId id="2142532329" r:id="rId7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7FF"/>
    <a:srgbClr val="FADB03"/>
    <a:srgbClr val="00F7F7"/>
    <a:srgbClr val="0067FD"/>
    <a:srgbClr val="FD29A6"/>
    <a:srgbClr val="F527AB"/>
    <a:srgbClr val="FC27AF"/>
    <a:srgbClr val="54F9FA"/>
    <a:srgbClr val="F8DD00"/>
    <a:srgbClr val="2C65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165" d="100"/>
          <a:sy n="165" d="100"/>
        </p:scale>
        <p:origin x="-234" y="-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240183-8300-4113-99C3-5CB3F8079AD7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3C5DD7-7760-4B39-B43C-46B4FCA9912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47844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037131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639045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775479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491214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473478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35021EF2-1BCD-4D32-AB4F-DEF33559B1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xmlns="" id="{2A8A0437-7953-4B89-B3E8-C30D342DB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xmlns="" id="{7BA04CEB-5F57-4C9B-9B45-2EC29B800A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xmlns="" id="{06219415-3971-48C3-A972-2D3CDD91F7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xmlns="" id="{045CC215-DAC1-4F70-ACCA-0CCB41153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120628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0E42A29A-DFD7-42E3-A789-446346472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xmlns="" id="{D14B9ADA-1202-4434-A9F7-BFAD3469B0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xmlns="" id="{2D69AA4E-9213-4DE6-BB2E-96B85764A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xmlns="" id="{73C7776A-71A8-4BC2-AFE5-FC661B60E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xmlns="" id="{45C5E343-BE6F-4DB1-BB04-F3570ADBB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793200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xmlns="" id="{4A594D1B-4A36-4834-BDE3-6F48888790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xmlns="" id="{EDC6E084-A87F-4344-9202-EB8C8125D9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xmlns="" id="{513CA9C3-B97D-41B2-8DC8-408DAA1DF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xmlns="" id="{689AEFB0-12D8-4DD2-A103-5ABD79DC3F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xmlns="" id="{8977A464-79B0-44E6-A449-BEB5FD9AD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524156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E185C55F-929B-4D46-B73B-AF2944466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8011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Diapositiva think-cell" r:id="rId5" imgW="395" imgH="396" progId="TCLayout.ActiveDocument.1">
                  <p:embed/>
                </p:oleObj>
              </mc:Choice>
              <mc:Fallback>
                <p:oleObj name="Diapositiva think-cell" r:id="rId5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E185C55F-929B-4D46-B73B-AF2944466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1DC5C159-61C7-4F59-898A-C7109ED283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3508" b="0" i="0" baseline="0">
              <a:solidFill>
                <a:schemeClr val="bg1"/>
              </a:solidFill>
              <a:latin typeface="KPMG Extralight" panose="020B0303030202040204" pitchFamily="34" charset="0"/>
              <a:ea typeface="+mj-ea"/>
              <a:cs typeface="+mj-cs"/>
              <a:sym typeface="KPMG Extralight" panose="020B0303030202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6" y="203863"/>
            <a:ext cx="10574092" cy="169200"/>
          </a:xfrm>
        </p:spPr>
        <p:txBody>
          <a:bodyPr anchor="b"/>
          <a:lstStyle>
            <a:lvl1pPr>
              <a:spcAft>
                <a:spcPts val="0"/>
              </a:spcAft>
              <a:defRPr sz="1108"/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7" name="Line 47">
            <a:extLst>
              <a:ext uri="{FF2B5EF4-FFF2-40B4-BE49-F238E27FC236}">
                <a16:creationId xmlns:a16="http://schemas.microsoft.com/office/drawing/2014/main" xmlns="" id="{423985A4-C6EB-4317-B11A-43DAF036568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9494" y="6324411"/>
            <a:ext cx="11808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it-IT" sz="1292">
              <a:solidFill>
                <a:prstClr val="black"/>
              </a:solidFill>
              <a:latin typeface="Titillium Web" panose="00000500000000000000" pitchFamily="2" charset="0"/>
            </a:endParaRP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xmlns="" id="{7474D880-20CB-423B-B842-C8C75BF9AC5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36205" y="6368667"/>
            <a:ext cx="2111151" cy="471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1894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7616687" y="5955889"/>
            <a:ext cx="2743200" cy="365125"/>
          </a:xfrm>
        </p:spPr>
        <p:txBody>
          <a:bodyPr/>
          <a:lstStyle/>
          <a:p>
            <a:fld id="{18739CEF-6400-4C77-88D6-678CE20A93F5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6D2FAA85-08E5-830B-E7C9-109092C20963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615331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" name="Straight Connector 11">
            <a:extLst>
              <a:ext uri="{FF2B5EF4-FFF2-40B4-BE49-F238E27FC236}">
                <a16:creationId xmlns:a16="http://schemas.microsoft.com/office/drawing/2014/main" xmlns="" id="{010837C5-5361-94D7-391B-120D2058A9A1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497604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9" name="Straight Connector 12">
            <a:extLst>
              <a:ext uri="{FF2B5EF4-FFF2-40B4-BE49-F238E27FC236}">
                <a16:creationId xmlns:a16="http://schemas.microsoft.com/office/drawing/2014/main" xmlns="" id="{0989480B-0812-63CD-DF17-5D85C890AF9B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379877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" name="Straight Connector 13">
            <a:extLst>
              <a:ext uri="{FF2B5EF4-FFF2-40B4-BE49-F238E27FC236}">
                <a16:creationId xmlns:a16="http://schemas.microsoft.com/office/drawing/2014/main" xmlns="" id="{DFE74FDE-C3E1-AC4E-F8AB-8C6419A4A906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262150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1" name="Picture 16" descr="Logo, company name&#10;&#10;Description automatically generated">
            <a:extLst>
              <a:ext uri="{FF2B5EF4-FFF2-40B4-BE49-F238E27FC236}">
                <a16:creationId xmlns:a16="http://schemas.microsoft.com/office/drawing/2014/main" xmlns="" id="{A69053EE-0C91-B39A-ED96-C5AB9B8E00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19569" y="5809025"/>
            <a:ext cx="1972431" cy="906252"/>
          </a:xfrm>
          <a:prstGeom prst="rect">
            <a:avLst/>
          </a:prstGeom>
        </p:spPr>
      </p:pic>
      <p:grpSp>
        <p:nvGrpSpPr>
          <p:cNvPr id="12" name="Group 27">
            <a:extLst>
              <a:ext uri="{FF2B5EF4-FFF2-40B4-BE49-F238E27FC236}">
                <a16:creationId xmlns:a16="http://schemas.microsoft.com/office/drawing/2014/main" xmlns="" id="{5F2CA5DB-29AE-7275-B236-1480AE7EF4BD}"/>
              </a:ext>
            </a:extLst>
          </p:cNvPr>
          <p:cNvGrpSpPr/>
          <p:nvPr userDrawn="1"/>
        </p:nvGrpSpPr>
        <p:grpSpPr>
          <a:xfrm>
            <a:off x="95599" y="6262150"/>
            <a:ext cx="155861" cy="353181"/>
            <a:chOff x="95599" y="6262150"/>
            <a:chExt cx="8600303" cy="353181"/>
          </a:xfrm>
        </p:grpSpPr>
        <p:cxnSp>
          <p:nvCxnSpPr>
            <p:cNvPr id="13" name="Straight Connector 19">
              <a:extLst>
                <a:ext uri="{FF2B5EF4-FFF2-40B4-BE49-F238E27FC236}">
                  <a16:creationId xmlns:a16="http://schemas.microsoft.com/office/drawing/2014/main" xmlns="" id="{1983CE00-C5B1-4FAD-4F8E-796810BF2663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615331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4" name="Straight Connector 20">
              <a:extLst>
                <a:ext uri="{FF2B5EF4-FFF2-40B4-BE49-F238E27FC236}">
                  <a16:creationId xmlns:a16="http://schemas.microsoft.com/office/drawing/2014/main" xmlns="" id="{20F1C7A1-81BA-010E-FD8B-97BD38C9BEDC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497604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5" name="Straight Connector 21">
              <a:extLst>
                <a:ext uri="{FF2B5EF4-FFF2-40B4-BE49-F238E27FC236}">
                  <a16:creationId xmlns:a16="http://schemas.microsoft.com/office/drawing/2014/main" xmlns="" id="{2759C214-21EC-2460-B736-3476854CC358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379877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6" name="Straight Connector 22">
              <a:extLst>
                <a:ext uri="{FF2B5EF4-FFF2-40B4-BE49-F238E27FC236}">
                  <a16:creationId xmlns:a16="http://schemas.microsoft.com/office/drawing/2014/main" xmlns="" id="{75FBAF7E-37AB-FA78-0D48-714FE970551C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262150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pic>
        <p:nvPicPr>
          <p:cNvPr id="17" name="Picture 5" descr="Logo&#10;&#10;Description automatically generated">
            <a:extLst>
              <a:ext uri="{FF2B5EF4-FFF2-40B4-BE49-F238E27FC236}">
                <a16:creationId xmlns:a16="http://schemas.microsoft.com/office/drawing/2014/main" xmlns="" id="{9C6A2F21-30F8-DD6F-C749-FB7BCB2AD5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29535" y="5776309"/>
            <a:ext cx="1700530" cy="971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8684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35021EF2-1BCD-4D32-AB4F-DEF33559B1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xmlns="" id="{2A8A0437-7953-4B89-B3E8-C30D342DB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xmlns="" id="{7BA04CEB-5F57-4C9B-9B45-2EC29B800A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xmlns="" id="{06219415-3971-48C3-A972-2D3CDD91F7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xmlns="" id="{045CC215-DAC1-4F70-ACCA-0CCB41153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975667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0937C3CC-218C-400E-A930-D6955780B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xmlns="" id="{CA92BBED-2BB1-4BF5-98B2-F096AC53B5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xmlns="" id="{A0DA9B30-B71F-403C-B9C3-A3A285D6E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xmlns="" id="{7CD1B3A1-D60D-46F0-B53B-A299AFF63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xmlns="" id="{73D246E6-BBBA-485F-9D5A-928893E22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12559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4F25475B-0692-4CAD-93E1-0A1D8771B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xmlns="" id="{55783C3A-38A5-4BB6-907B-7DA091835E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xmlns="" id="{AC664E86-E7C4-490E-9FD9-6293DD977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xmlns="" id="{59B60455-3C2B-4E2C-BFA6-8498487E6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xmlns="" id="{DF1F0F46-4EA9-44A9-B7DE-F38673818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327771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4CB6C000-AEFB-4092-84F7-FAB4D7AAE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xmlns="" id="{E9A41D9A-6999-4FFC-96D7-45C139BAEF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xmlns="" id="{DDC27D8B-2310-4FFA-A623-4651A2E916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xmlns="" id="{D35137F1-42CE-4A17-B092-97462601AB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xmlns="" id="{3291BEC0-29DB-4710-9B75-B86B6726A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xmlns="" id="{EA037C4C-65AB-4E73-B205-3424B2C2A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182530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F2CF7F25-F745-4D3E-8BD3-AB323DAA2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xmlns="" id="{4B7DFB03-CFD8-4524-9A8F-92856235B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xmlns="" id="{994126D3-3DE2-43EE-8405-D7B5738878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xmlns="" id="{BF7C4BD0-9907-414B-9507-A72CEB3B9A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xmlns="" id="{FC20B42F-5375-49F9-8806-1DE31B1920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xmlns="" id="{D8B9AF6C-22B6-4FC1-BCED-662EA41D3E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xmlns="" id="{EFDD11C8-F701-460B-AD1A-570EF79E4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xmlns="" id="{980E9846-417A-4442-BBFB-81EF6360F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622475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B713029A-9C7B-47D5-A7F9-F7848548F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xmlns="" id="{49B4FB0B-457A-4DD5-8814-E5D3E4E11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xmlns="" id="{E537F4B6-02AB-45E6-B4F5-2B561602E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xmlns="" id="{68473112-BE6C-4554-A92F-7E1528F3B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8494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0937C3CC-218C-400E-A930-D6955780B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xmlns="" id="{CA92BBED-2BB1-4BF5-98B2-F096AC53B5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xmlns="" id="{A0DA9B30-B71F-403C-B9C3-A3A285D6E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xmlns="" id="{7CD1B3A1-D60D-46F0-B53B-A299AFF63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xmlns="" id="{73D246E6-BBBA-485F-9D5A-928893E22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300610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xmlns="" id="{FEBF2D3C-05FD-4F70-8928-A9016E2DD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xmlns="" id="{C3C76ACF-5032-47F5-8CCE-320C9507B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xmlns="" id="{198064AD-1B54-4431-A92A-445DC95EF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77999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21492DB9-46CA-4DB6-B9DE-6A1B7FFD2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xmlns="" id="{270AC657-F466-4CCA-BB0D-2686751DDF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xmlns="" id="{2BAB4FF2-408F-483F-80D8-163E29E24A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xmlns="" id="{B0B22DE2-EFCD-4A16-9D2F-CBC2911AFA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xmlns="" id="{E7A6344D-151D-458D-98FD-568E544948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xmlns="" id="{59754A6C-C2B1-4788-A94D-0E911E209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152151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86AF403C-99C1-4792-A10F-BC76E225A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xmlns="" id="{CCB42822-8F16-42BF-99A4-205555A5BD0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xmlns="" id="{B457B410-2D8D-40A0-B260-B01BC24DD5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xmlns="" id="{E91BD21D-537E-430C-92DC-A4F9B155DD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xmlns="" id="{8D904BF6-0D4E-4182-9EDD-3F78BD749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xmlns="" id="{FA737B6A-788F-406E-832F-573EF89B3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482465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0E42A29A-DFD7-42E3-A789-446346472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xmlns="" id="{D14B9ADA-1202-4434-A9F7-BFAD3469B0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xmlns="" id="{2D69AA4E-9213-4DE6-BB2E-96B85764A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xmlns="" id="{73C7776A-71A8-4BC2-AFE5-FC661B60E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xmlns="" id="{45C5E343-BE6F-4DB1-BB04-F3570ADBB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34865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xmlns="" id="{4A594D1B-4A36-4834-BDE3-6F48888790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xmlns="" id="{EDC6E084-A87F-4344-9202-EB8C8125D9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xmlns="" id="{513CA9C3-B97D-41B2-8DC8-408DAA1DF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xmlns="" id="{689AEFB0-12D8-4DD2-A103-5ABD79DC3F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xmlns="" id="{8977A464-79B0-44E6-A449-BEB5FD9AD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337969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3005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4F25475B-0692-4CAD-93E1-0A1D8771B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xmlns="" id="{55783C3A-38A5-4BB6-907B-7DA091835E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xmlns="" id="{AC664E86-E7C4-490E-9FD9-6293DD977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xmlns="" id="{59B60455-3C2B-4E2C-BFA6-8498487E6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xmlns="" id="{DF1F0F46-4EA9-44A9-B7DE-F38673818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216760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4CB6C000-AEFB-4092-84F7-FAB4D7AAE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xmlns="" id="{E9A41D9A-6999-4FFC-96D7-45C139BAEF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xmlns="" id="{DDC27D8B-2310-4FFA-A623-4651A2E916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xmlns="" id="{D35137F1-42CE-4A17-B092-97462601AB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xmlns="" id="{3291BEC0-29DB-4710-9B75-B86B6726A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xmlns="" id="{EA037C4C-65AB-4E73-B205-3424B2C2A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789109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F2CF7F25-F745-4D3E-8BD3-AB323DAA2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xmlns="" id="{4B7DFB03-CFD8-4524-9A8F-92856235B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xmlns="" id="{994126D3-3DE2-43EE-8405-D7B5738878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xmlns="" id="{BF7C4BD0-9907-414B-9507-A72CEB3B9A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xmlns="" id="{FC20B42F-5375-49F9-8806-1DE31B1920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xmlns="" id="{D8B9AF6C-22B6-4FC1-BCED-662EA41D3E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xmlns="" id="{EFDD11C8-F701-460B-AD1A-570EF79E4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xmlns="" id="{980E9846-417A-4442-BBFB-81EF6360F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763573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B713029A-9C7B-47D5-A7F9-F7848548F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xmlns="" id="{49B4FB0B-457A-4DD5-8814-E5D3E4E11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xmlns="" id="{E537F4B6-02AB-45E6-B4F5-2B561602E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xmlns="" id="{68473112-BE6C-4554-A92F-7E1528F3B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67057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xmlns="" id="{FEBF2D3C-05FD-4F70-8928-A9016E2DD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xmlns="" id="{C3C76ACF-5032-47F5-8CCE-320C9507B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xmlns="" id="{198064AD-1B54-4431-A92A-445DC95EF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748772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21492DB9-46CA-4DB6-B9DE-6A1B7FFD2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xmlns="" id="{270AC657-F466-4CCA-BB0D-2686751DDF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xmlns="" id="{2BAB4FF2-408F-483F-80D8-163E29E24A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xmlns="" id="{B0B22DE2-EFCD-4A16-9D2F-CBC2911AFA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xmlns="" id="{E7A6344D-151D-458D-98FD-568E544948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xmlns="" id="{59754A6C-C2B1-4788-A94D-0E911E209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252225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86AF403C-99C1-4792-A10F-BC76E225A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xmlns="" id="{CCB42822-8F16-42BF-99A4-205555A5BD0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xmlns="" id="{B457B410-2D8D-40A0-B260-B01BC24DD5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xmlns="" id="{E91BD21D-537E-430C-92DC-A4F9B155DD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xmlns="" id="{8D904BF6-0D4E-4182-9EDD-3F78BD749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xmlns="" id="{FA737B6A-788F-406E-832F-573EF89B3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166639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xmlns="" id="{2B83D9AD-EAB9-483C-961A-C3FBC3663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xmlns="" id="{D769BFDA-928E-4ED4-AAFC-04E07CE0C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xmlns="" id="{DF672686-5619-43FE-8ACD-28A5DCC4D9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DEB7E6-DE81-457C-B6AF-341E37AA50C2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xmlns="" id="{611B2816-4788-4FD5-871A-6AC98DC626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xmlns="" id="{AFBD0318-92A6-4C50-9B4D-9D2BF62D31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52969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4" r:id="rId12"/>
    <p:sldLayoutId id="2147483676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xmlns="" id="{2B83D9AD-EAB9-483C-961A-C3FBC3663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xmlns="" id="{D769BFDA-928E-4ED4-AAFC-04E07CE0C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xmlns="" id="{DF672686-5619-43FE-8ACD-28A5DCC4D9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DEB7E6-DE81-457C-B6AF-341E37AA50C2}" type="datetimeFigureOut">
              <a:rPr lang="it-IT" smtClean="0"/>
              <a:t>08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xmlns="" id="{611B2816-4788-4FD5-871A-6AC98DC626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xmlns="" id="{AFBD0318-92A6-4C50-9B4D-9D2BF62D31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9000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10" Type="http://schemas.openxmlformats.org/officeDocument/2006/relationships/hyperlink" Target="https://questionari.pubblica.istruzione.it/questionariV3/index.php/519882?newtest=Y&amp;lang=it" TargetMode="External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questionari.pubblica.istruzione.it/questionariV3/index.php/519882?newtest=Y&amp;lang=it" TargetMode="External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questionari.pubblica.istruzione.it/questionariV3/index.php/519882?newtest=Y&amp;lang=it" TargetMode="External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0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1.png"/><Relationship Id="rId12" Type="http://schemas.openxmlformats.org/officeDocument/2006/relationships/image" Target="../media/image1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11" Type="http://schemas.openxmlformats.org/officeDocument/2006/relationships/hyperlink" Target="https://questionari.pubblica.istruzione.it/questionariV3/index.php/519882?newtest=Y&amp;lang=it" TargetMode="External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5.sv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2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>
            <a:extLst>
              <a:ext uri="{FF2B5EF4-FFF2-40B4-BE49-F238E27FC236}">
                <a16:creationId xmlns:a16="http://schemas.microsoft.com/office/drawing/2014/main" xmlns="" id="{C1E8D416-133F-41BE-A584-0A1E4249C9B3}"/>
              </a:ext>
            </a:extLst>
          </p:cNvPr>
          <p:cNvSpPr txBox="1"/>
          <p:nvPr/>
        </p:nvSpPr>
        <p:spPr>
          <a:xfrm>
            <a:off x="8973881" y="4829282"/>
            <a:ext cx="23692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>
                <a:latin typeface="Titillium Web" panose="00000500000000000000" pitchFamily="2" charset="0"/>
              </a:rPr>
              <a:t>Scopri come partecipare!</a:t>
            </a: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xmlns="" id="{6FA96CF1-1B92-40E9-BF49-3C81DE4A6AA7}"/>
              </a:ext>
            </a:extLst>
          </p:cNvPr>
          <p:cNvGrpSpPr/>
          <p:nvPr/>
        </p:nvGrpSpPr>
        <p:grpSpPr>
          <a:xfrm>
            <a:off x="8973878" y="4718250"/>
            <a:ext cx="478465" cy="478465"/>
            <a:chOff x="8973878" y="5007935"/>
            <a:chExt cx="478465" cy="478465"/>
          </a:xfrm>
        </p:grpSpPr>
        <p:cxnSp>
          <p:nvCxnSpPr>
            <p:cNvPr id="4" name="Connettore diritto 3">
              <a:extLst>
                <a:ext uri="{FF2B5EF4-FFF2-40B4-BE49-F238E27FC236}">
                  <a16:creationId xmlns:a16="http://schemas.microsoft.com/office/drawing/2014/main" xmlns="" id="{95ABC829-E6DF-4282-B400-2D31A68D9908}"/>
                </a:ext>
              </a:extLst>
            </p:cNvPr>
            <p:cNvCxnSpPr/>
            <p:nvPr/>
          </p:nvCxnSpPr>
          <p:spPr>
            <a:xfrm flipV="1">
              <a:off x="8973879" y="5007935"/>
              <a:ext cx="0" cy="478465"/>
            </a:xfrm>
            <a:prstGeom prst="line">
              <a:avLst/>
            </a:prstGeom>
            <a:ln w="19050">
              <a:solidFill>
                <a:srgbClr val="0067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Connettore diritto 184">
              <a:extLst>
                <a:ext uri="{FF2B5EF4-FFF2-40B4-BE49-F238E27FC236}">
                  <a16:creationId xmlns:a16="http://schemas.microsoft.com/office/drawing/2014/main" xmlns="" id="{2D801884-F381-41AC-8935-BF2DA29D36C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9213111" y="4775790"/>
              <a:ext cx="0" cy="478465"/>
            </a:xfrm>
            <a:prstGeom prst="line">
              <a:avLst/>
            </a:prstGeom>
            <a:ln w="19050">
              <a:solidFill>
                <a:srgbClr val="0067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86" name="Connettore diritto 185">
            <a:extLst>
              <a:ext uri="{FF2B5EF4-FFF2-40B4-BE49-F238E27FC236}">
                <a16:creationId xmlns:a16="http://schemas.microsoft.com/office/drawing/2014/main" xmlns="" id="{49E7E1A0-30FE-41DE-B316-A01FF97AC394}"/>
              </a:ext>
            </a:extLst>
          </p:cNvPr>
          <p:cNvCxnSpPr>
            <a:cxnSpLocks/>
          </p:cNvCxnSpPr>
          <p:nvPr/>
        </p:nvCxnSpPr>
        <p:spPr>
          <a:xfrm rot="16200000" flipV="1">
            <a:off x="11143474" y="5370893"/>
            <a:ext cx="0" cy="478465"/>
          </a:xfrm>
          <a:prstGeom prst="line">
            <a:avLst/>
          </a:prstGeom>
          <a:ln w="19050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Connettore diritto 186">
            <a:extLst>
              <a:ext uri="{FF2B5EF4-FFF2-40B4-BE49-F238E27FC236}">
                <a16:creationId xmlns:a16="http://schemas.microsoft.com/office/drawing/2014/main" xmlns="" id="{8E829038-0443-4EEB-A36E-B6362FC06D55}"/>
              </a:ext>
            </a:extLst>
          </p:cNvPr>
          <p:cNvCxnSpPr>
            <a:cxnSpLocks/>
          </p:cNvCxnSpPr>
          <p:nvPr/>
        </p:nvCxnSpPr>
        <p:spPr>
          <a:xfrm rot="10800000" flipV="1">
            <a:off x="11373562" y="5129604"/>
            <a:ext cx="0" cy="478465"/>
          </a:xfrm>
          <a:prstGeom prst="line">
            <a:avLst/>
          </a:prstGeom>
          <a:ln w="19050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xmlns="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xmlns="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ttangolo 11">
            <a:extLst>
              <a:ext uri="{FF2B5EF4-FFF2-40B4-BE49-F238E27FC236}">
                <a16:creationId xmlns:a16="http://schemas.microsoft.com/office/drawing/2014/main" xmlns="" id="{24999A1E-B36E-46C4-AE47-433026608EFF}"/>
              </a:ext>
            </a:extLst>
          </p:cNvPr>
          <p:cNvSpPr/>
          <p:nvPr/>
        </p:nvSpPr>
        <p:spPr>
          <a:xfrm>
            <a:off x="343056" y="2418793"/>
            <a:ext cx="11505887" cy="4693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  <a:spcAft>
                <a:spcPts val="1200"/>
              </a:spcAft>
            </a:pPr>
            <a:r>
              <a:rPr lang="it-IT" sz="2000" dirty="0">
                <a:latin typeface="Titillium Web" panose="00000500000000000000" pitchFamily="2" charset="0"/>
              </a:rPr>
              <a:t>Oggi, 27 ottobre, il Ministero dell’Istruzione lancia</a:t>
            </a: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xmlns="" id="{4849B2C3-3823-4309-AE6D-0CC02612653B}"/>
              </a:ext>
            </a:extLst>
          </p:cNvPr>
          <p:cNvSpPr/>
          <p:nvPr/>
        </p:nvSpPr>
        <p:spPr>
          <a:xfrm>
            <a:off x="748582" y="3138400"/>
            <a:ext cx="10947456" cy="12580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  <a:spcAft>
                <a:spcPts val="1200"/>
              </a:spcAft>
            </a:pPr>
            <a:r>
              <a:rPr lang="it-IT" sz="3000" b="1">
                <a:solidFill>
                  <a:srgbClr val="0067FF"/>
                </a:solidFill>
                <a:latin typeface="Titillium Web" panose="00000500000000000000" pitchFamily="2" charset="0"/>
              </a:rPr>
              <a:t>La consultazione del corpo docenti per l’attualizzazione del Piano Nazionale Scuola Digitale</a:t>
            </a:r>
          </a:p>
        </p:txBody>
      </p:sp>
      <p:pic>
        <p:nvPicPr>
          <p:cNvPr id="18" name="Immagine 17">
            <a:extLst>
              <a:ext uri="{FF2B5EF4-FFF2-40B4-BE49-F238E27FC236}">
                <a16:creationId xmlns:a16="http://schemas.microsoft.com/office/drawing/2014/main" xmlns="" id="{32323AAD-667A-4C08-B061-979CFD7478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61393" y="189747"/>
            <a:ext cx="5152873" cy="1902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484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xmlns="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xmlns="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magine 15">
            <a:extLst>
              <a:ext uri="{FF2B5EF4-FFF2-40B4-BE49-F238E27FC236}">
                <a16:creationId xmlns:a16="http://schemas.microsoft.com/office/drawing/2014/main" xmlns="" id="{8E003B70-6AD8-4A9B-BDDF-8DD2D95FAFC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09600" y="2096420"/>
            <a:ext cx="4982400" cy="3317679"/>
          </a:xfrm>
          <a:prstGeom prst="rect">
            <a:avLst/>
          </a:prstGeom>
        </p:spPr>
      </p:pic>
      <p:sp>
        <p:nvSpPr>
          <p:cNvPr id="17" name="Rettangolo 16">
            <a:extLst>
              <a:ext uri="{FF2B5EF4-FFF2-40B4-BE49-F238E27FC236}">
                <a16:creationId xmlns:a16="http://schemas.microsoft.com/office/drawing/2014/main" xmlns="" id="{1E59ADEB-A2EE-49A9-90F3-FB3DC8CD26C9}"/>
              </a:ext>
            </a:extLst>
          </p:cNvPr>
          <p:cNvSpPr/>
          <p:nvPr/>
        </p:nvSpPr>
        <p:spPr>
          <a:xfrm>
            <a:off x="619018" y="1402740"/>
            <a:ext cx="10953965" cy="6121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800">
                <a:latin typeface="Baguet Script" panose="00000500000000000000" pitchFamily="2" charset="0"/>
              </a:rPr>
              <a:t>È tempo di rinnova-menti!</a:t>
            </a: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xmlns="" id="{D35382D0-A2EE-4A5B-8DAC-C28ECFEACBF8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cxnSp>
        <p:nvCxnSpPr>
          <p:cNvPr id="22" name="Connettore diritto 21">
            <a:extLst>
              <a:ext uri="{FF2B5EF4-FFF2-40B4-BE49-F238E27FC236}">
                <a16:creationId xmlns:a16="http://schemas.microsoft.com/office/drawing/2014/main" xmlns="" id="{9B47CD9A-6154-4BD2-84D5-F9B87D72D751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ttangolo 24">
            <a:extLst>
              <a:ext uri="{FF2B5EF4-FFF2-40B4-BE49-F238E27FC236}">
                <a16:creationId xmlns:a16="http://schemas.microsoft.com/office/drawing/2014/main" xmlns="" id="{ADB8B75C-9542-40CC-A4A2-99F3964A28F7}"/>
              </a:ext>
            </a:extLst>
          </p:cNvPr>
          <p:cNvSpPr/>
          <p:nvPr/>
        </p:nvSpPr>
        <p:spPr>
          <a:xfrm>
            <a:off x="619018" y="2181370"/>
            <a:ext cx="6249615" cy="1827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 dirty="0">
                <a:latin typeface="Titillium Web" panose="00000500000000000000" pitchFamily="2" charset="0"/>
              </a:rPr>
              <a:t>Al fine di riprogettare il Piano Nazionale Scuola Digitale, è stata avviata una consultazione destinata a </a:t>
            </a:r>
            <a:r>
              <a:rPr lang="it-IT" sz="2200" b="1" dirty="0">
                <a:latin typeface="Titillium Web" panose="00000500000000000000" pitchFamily="2" charset="0"/>
              </a:rPr>
              <a:t>tutti i docenti</a:t>
            </a:r>
            <a:r>
              <a:rPr lang="it-IT" sz="2200" dirty="0">
                <a:latin typeface="Titillium Web" panose="00000500000000000000" pitchFamily="2" charset="0"/>
              </a:rPr>
              <a:t>, attraverso la compilazione di un questionario.</a:t>
            </a: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xmlns="" id="{4559EB46-14EF-4A7F-B9BB-307EA05B9733}"/>
              </a:ext>
            </a:extLst>
          </p:cNvPr>
          <p:cNvGrpSpPr/>
          <p:nvPr/>
        </p:nvGrpSpPr>
        <p:grpSpPr>
          <a:xfrm>
            <a:off x="619018" y="4516643"/>
            <a:ext cx="6249615" cy="684001"/>
            <a:chOff x="619018" y="5508450"/>
            <a:chExt cx="6249615" cy="684001"/>
          </a:xfrm>
        </p:grpSpPr>
        <p:sp>
          <p:nvSpPr>
            <p:cNvPr id="34" name="Rettangolo 33">
              <a:extLst>
                <a:ext uri="{FF2B5EF4-FFF2-40B4-BE49-F238E27FC236}">
                  <a16:creationId xmlns:a16="http://schemas.microsoft.com/office/drawing/2014/main" xmlns="" id="{7D772938-8F7E-4D33-B4A4-53B4ED1FAE8F}"/>
                </a:ext>
              </a:extLst>
            </p:cNvPr>
            <p:cNvSpPr/>
            <p:nvPr/>
          </p:nvSpPr>
          <p:spPr>
            <a:xfrm>
              <a:off x="1303018" y="5508450"/>
              <a:ext cx="5565615" cy="684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it-IT" sz="1600" dirty="0">
                  <a:solidFill>
                    <a:schemeClr val="tx1"/>
                  </a:solidFill>
                  <a:latin typeface="Titillium Web" panose="00000500000000000000" pitchFamily="2" charset="0"/>
                </a:rPr>
                <a:t>Per maggiori dettagli sull’iniziativa, consultare la nota prot. N. n. 2028 del 27 ottobre 2022 </a:t>
              </a:r>
            </a:p>
          </p:txBody>
        </p:sp>
        <p:sp>
          <p:nvSpPr>
            <p:cNvPr id="35" name="Rettangolo 20">
              <a:extLst>
                <a:ext uri="{FF2B5EF4-FFF2-40B4-BE49-F238E27FC236}">
                  <a16:creationId xmlns:a16="http://schemas.microsoft.com/office/drawing/2014/main" xmlns="" id="{67989773-C9A2-44C1-907C-0BD0F7A9269D}"/>
                </a:ext>
              </a:extLst>
            </p:cNvPr>
            <p:cNvSpPr/>
            <p:nvPr/>
          </p:nvSpPr>
          <p:spPr>
            <a:xfrm>
              <a:off x="619018" y="5508451"/>
              <a:ext cx="684000" cy="684000"/>
            </a:xfrm>
            <a:prstGeom prst="rect">
              <a:avLst/>
            </a:prstGeom>
            <a:solidFill>
              <a:srgbClr val="0067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latin typeface="Titillium Web" panose="00000500000000000000" pitchFamily="2" charset="0"/>
              </a:endParaRPr>
            </a:p>
          </p:txBody>
        </p:sp>
        <p:pic>
          <p:nvPicPr>
            <p:cNvPr id="36" name="Elemento grafico 35" descr="Documento contorno">
              <a:extLst>
                <a:ext uri="{FF2B5EF4-FFF2-40B4-BE49-F238E27FC236}">
                  <a16:creationId xmlns:a16="http://schemas.microsoft.com/office/drawing/2014/main" xmlns="" id="{8C6D89B4-135B-4B1A-BFD4-35BE691787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691018" y="5580451"/>
              <a:ext cx="540000" cy="540000"/>
            </a:xfrm>
            <a:prstGeom prst="rect">
              <a:avLst/>
            </a:prstGeom>
          </p:spPr>
        </p:pic>
      </p:grpSp>
      <p:sp>
        <p:nvSpPr>
          <p:cNvPr id="14" name="Rettangolo con angoli arrotondati 13">
            <a:hlinkClick r:id="rId10"/>
            <a:extLst>
              <a:ext uri="{FF2B5EF4-FFF2-40B4-BE49-F238E27FC236}">
                <a16:creationId xmlns:a16="http://schemas.microsoft.com/office/drawing/2014/main" xmlns="" id="{C961C102-A48B-4CA7-9FC9-A4DCB74E0F2B}"/>
              </a:ext>
            </a:extLst>
          </p:cNvPr>
          <p:cNvSpPr/>
          <p:nvPr/>
        </p:nvSpPr>
        <p:spPr>
          <a:xfrm>
            <a:off x="9072857" y="258632"/>
            <a:ext cx="2649751" cy="534403"/>
          </a:xfrm>
          <a:prstGeom prst="roundRect">
            <a:avLst/>
          </a:prstGeom>
          <a:solidFill>
            <a:srgbClr val="FADB0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Clicca su </a:t>
            </a:r>
            <a:r>
              <a:rPr lang="it-IT" sz="1400" b="1">
                <a:solidFill>
                  <a:schemeClr val="tx1"/>
                </a:solidFill>
                <a:latin typeface="Titillium Web" panose="00000500000000000000" pitchFamily="2" charset="0"/>
              </a:rPr>
              <a:t>questo link </a:t>
            </a: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per iniziare subito il questionario!</a:t>
            </a:r>
          </a:p>
        </p:txBody>
      </p:sp>
      <p:pic>
        <p:nvPicPr>
          <p:cNvPr id="19" name="Immagine 18">
            <a:extLst>
              <a:ext uri="{FF2B5EF4-FFF2-40B4-BE49-F238E27FC236}">
                <a16:creationId xmlns:a16="http://schemas.microsoft.com/office/drawing/2014/main" xmlns="" id="{434A2277-CB61-429A-B6AB-EFD0292C1A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71013" y="2096419"/>
            <a:ext cx="5320987" cy="3543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415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xmlns="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xmlns="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ttangolo 11">
            <a:extLst>
              <a:ext uri="{FF2B5EF4-FFF2-40B4-BE49-F238E27FC236}">
                <a16:creationId xmlns:a16="http://schemas.microsoft.com/office/drawing/2014/main" xmlns="" id="{24999A1E-B36E-46C4-AE47-433026608EFF}"/>
              </a:ext>
            </a:extLst>
          </p:cNvPr>
          <p:cNvSpPr/>
          <p:nvPr/>
        </p:nvSpPr>
        <p:spPr>
          <a:xfrm>
            <a:off x="619018" y="1402740"/>
            <a:ext cx="10953965" cy="9471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>
                <a:latin typeface="Titillium Web" panose="00000500000000000000" pitchFamily="2" charset="0"/>
              </a:rPr>
              <a:t>La consultazione mira a </a:t>
            </a:r>
            <a:r>
              <a:rPr lang="it-IT" sz="2200" b="1">
                <a:latin typeface="Titillium Web" panose="00000500000000000000" pitchFamily="2" charset="0"/>
              </a:rPr>
              <a:t>coinvolgere il cuore pulsante del sistema scolastico </a:t>
            </a:r>
            <a:r>
              <a:rPr lang="it-IT" sz="2200">
                <a:latin typeface="Titillium Web" panose="00000500000000000000" pitchFamily="2" charset="0"/>
              </a:rPr>
              <a:t>italiano nel dare una nuova veste al Piano Nazionale Scuola Digitale e a ridefinire insieme le azioni…</a:t>
            </a:r>
          </a:p>
        </p:txBody>
      </p: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xmlns="" id="{DFF8B0C5-7DE4-449C-8142-1968E9E24F30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magine 8">
            <a:extLst>
              <a:ext uri="{FF2B5EF4-FFF2-40B4-BE49-F238E27FC236}">
                <a16:creationId xmlns:a16="http://schemas.microsoft.com/office/drawing/2014/main" xmlns="" id="{D775B0CC-D0A7-4D6A-AC1C-5F08BA0ACE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" y="2450380"/>
            <a:ext cx="4982400" cy="3398133"/>
          </a:xfrm>
          <a:prstGeom prst="rect">
            <a:avLst/>
          </a:prstGeom>
        </p:spPr>
      </p:pic>
      <p:sp>
        <p:nvSpPr>
          <p:cNvPr id="14" name="CasellaDiTesto 13">
            <a:extLst>
              <a:ext uri="{FF2B5EF4-FFF2-40B4-BE49-F238E27FC236}">
                <a16:creationId xmlns:a16="http://schemas.microsoft.com/office/drawing/2014/main" xmlns="" id="{79BA729D-B4F4-42C2-B4E8-2743ADBF74A9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sp>
        <p:nvSpPr>
          <p:cNvPr id="13" name="Rettangolo con angoli arrotondati 12">
            <a:hlinkClick r:id="rId8"/>
            <a:extLst>
              <a:ext uri="{FF2B5EF4-FFF2-40B4-BE49-F238E27FC236}">
                <a16:creationId xmlns:a16="http://schemas.microsoft.com/office/drawing/2014/main" xmlns="" id="{32EE6E37-BADD-49A9-8292-47E317739C48}"/>
              </a:ext>
            </a:extLst>
          </p:cNvPr>
          <p:cNvSpPr/>
          <p:nvPr/>
        </p:nvSpPr>
        <p:spPr>
          <a:xfrm>
            <a:off x="9072857" y="258632"/>
            <a:ext cx="2649751" cy="534403"/>
          </a:xfrm>
          <a:prstGeom prst="roundRect">
            <a:avLst/>
          </a:prstGeom>
          <a:solidFill>
            <a:srgbClr val="FADB0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Clicca su </a:t>
            </a:r>
            <a:r>
              <a:rPr lang="it-IT" sz="1400" b="1">
                <a:solidFill>
                  <a:schemeClr val="tx1"/>
                </a:solidFill>
                <a:latin typeface="Titillium Web" panose="00000500000000000000" pitchFamily="2" charset="0"/>
              </a:rPr>
              <a:t>questo link </a:t>
            </a: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per iniziare subito il questionario!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xmlns="" id="{488038A3-A66A-404A-A218-6C27F0150B2B}"/>
              </a:ext>
            </a:extLst>
          </p:cNvPr>
          <p:cNvSpPr txBox="1"/>
          <p:nvPr/>
        </p:nvSpPr>
        <p:spPr>
          <a:xfrm>
            <a:off x="5567023" y="3255196"/>
            <a:ext cx="5898042" cy="166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it-IT" sz="2000">
                <a:latin typeface="Titillium Web" panose="00000500000000000000" pitchFamily="2" charset="0"/>
              </a:rPr>
              <a:t>…per </a:t>
            </a:r>
            <a:r>
              <a:rPr lang="it-IT" sz="2000" b="1">
                <a:latin typeface="Titillium Web" panose="00000500000000000000" pitchFamily="2" charset="0"/>
              </a:rPr>
              <a:t>accompagnare tutti gli studenti </a:t>
            </a:r>
            <a:r>
              <a:rPr lang="it-IT" sz="2000">
                <a:latin typeface="Titillium Web" panose="00000500000000000000" pitchFamily="2" charset="0"/>
              </a:rPr>
              <a:t>nell’acquisizione di competenze digitali, promuovendo l’esercizio consapevole di una </a:t>
            </a:r>
            <a:r>
              <a:rPr lang="it-IT" sz="2000" b="1">
                <a:latin typeface="Titillium Web" panose="00000500000000000000" pitchFamily="2" charset="0"/>
              </a:rPr>
              <a:t>piena cittadinanza</a:t>
            </a:r>
            <a:r>
              <a:rPr lang="it-IT" sz="2000">
                <a:latin typeface="Titillium Web" panose="00000500000000000000" pitchFamily="2" charset="0"/>
              </a:rPr>
              <a:t>, pronta a raccogliere le sfide del futuro.</a:t>
            </a:r>
            <a:endParaRPr lang="it-IT" sz="2000"/>
          </a:p>
        </p:txBody>
      </p:sp>
    </p:spTree>
    <p:extLst>
      <p:ext uri="{BB962C8B-B14F-4D97-AF65-F5344CB8AC3E}">
        <p14:creationId xmlns:p14="http://schemas.microsoft.com/office/powerpoint/2010/main" val="7186803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xmlns="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xmlns="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Connettore diritto 13">
            <a:extLst>
              <a:ext uri="{FF2B5EF4-FFF2-40B4-BE49-F238E27FC236}">
                <a16:creationId xmlns:a16="http://schemas.microsoft.com/office/drawing/2014/main" xmlns="" id="{ABBF3C96-8D38-4847-9FB9-AE79346DD08A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ttangolo 15">
            <a:extLst>
              <a:ext uri="{FF2B5EF4-FFF2-40B4-BE49-F238E27FC236}">
                <a16:creationId xmlns:a16="http://schemas.microsoft.com/office/drawing/2014/main" xmlns="" id="{CF186C31-95B4-4582-B00C-A39747A87503}"/>
              </a:ext>
            </a:extLst>
          </p:cNvPr>
          <p:cNvSpPr/>
          <p:nvPr/>
        </p:nvSpPr>
        <p:spPr>
          <a:xfrm>
            <a:off x="619018" y="1402740"/>
            <a:ext cx="10953965" cy="9471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>
                <a:latin typeface="Titillium Web" panose="00000500000000000000" pitchFamily="2" charset="0"/>
              </a:rPr>
              <a:t>Nell’ottica di una </a:t>
            </a:r>
            <a:r>
              <a:rPr lang="it-IT" sz="2200" b="1">
                <a:latin typeface="Titillium Web" panose="00000500000000000000" pitchFamily="2" charset="0"/>
              </a:rPr>
              <a:t>progettualità condivisa</a:t>
            </a:r>
            <a:r>
              <a:rPr lang="it-IT" sz="2200">
                <a:latin typeface="Titillium Web" panose="00000500000000000000" pitchFamily="2" charset="0"/>
              </a:rPr>
              <a:t> chiediamo a voi, che vivete la quotidianità del «fare Scuola», di </a:t>
            </a:r>
            <a:r>
              <a:rPr lang="it-IT" sz="2200" b="1">
                <a:latin typeface="Titillium Web" panose="00000500000000000000" pitchFamily="2" charset="0"/>
              </a:rPr>
              <a:t>riflettere sulla vostra idea di scuola del futuro</a:t>
            </a:r>
            <a:r>
              <a:rPr lang="it-IT" sz="2200">
                <a:latin typeface="Titillium Web" panose="00000500000000000000" pitchFamily="2" charset="0"/>
              </a:rPr>
              <a:t>.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xmlns="" id="{13D8906F-DEE6-4B5E-9093-39B253B61CCD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pic>
        <p:nvPicPr>
          <p:cNvPr id="28" name="Immagine 27">
            <a:extLst>
              <a:ext uri="{FF2B5EF4-FFF2-40B4-BE49-F238E27FC236}">
                <a16:creationId xmlns:a16="http://schemas.microsoft.com/office/drawing/2014/main" xmlns="" id="{71CD61EB-46B6-46CB-9522-966EBED8DD9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861" b="5924"/>
          <a:stretch/>
        </p:blipFill>
        <p:spPr>
          <a:xfrm>
            <a:off x="7018584" y="2496100"/>
            <a:ext cx="4982916" cy="3381788"/>
          </a:xfrm>
          <a:prstGeom prst="rect">
            <a:avLst/>
          </a:prstGeom>
        </p:spPr>
      </p:pic>
      <p:sp>
        <p:nvSpPr>
          <p:cNvPr id="13" name="Rettangolo con angoli arrotondati 12">
            <a:hlinkClick r:id="rId8"/>
            <a:extLst>
              <a:ext uri="{FF2B5EF4-FFF2-40B4-BE49-F238E27FC236}">
                <a16:creationId xmlns:a16="http://schemas.microsoft.com/office/drawing/2014/main" xmlns="" id="{D39C7F75-C32C-4379-AF0A-7189FBDE95CA}"/>
              </a:ext>
            </a:extLst>
          </p:cNvPr>
          <p:cNvSpPr/>
          <p:nvPr/>
        </p:nvSpPr>
        <p:spPr>
          <a:xfrm>
            <a:off x="9072857" y="258632"/>
            <a:ext cx="2649751" cy="534403"/>
          </a:xfrm>
          <a:prstGeom prst="roundRect">
            <a:avLst/>
          </a:prstGeom>
          <a:solidFill>
            <a:srgbClr val="FADB0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Clicca su </a:t>
            </a:r>
            <a:r>
              <a:rPr lang="it-IT" sz="1400" b="1">
                <a:solidFill>
                  <a:schemeClr val="tx1"/>
                </a:solidFill>
                <a:latin typeface="Titillium Web" panose="00000500000000000000" pitchFamily="2" charset="0"/>
              </a:rPr>
              <a:t>questo link </a:t>
            </a: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per iniziare subito il questionario!</a:t>
            </a: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xmlns="" id="{719FB764-8EE3-4516-8906-317C5FEBB457}"/>
              </a:ext>
            </a:extLst>
          </p:cNvPr>
          <p:cNvSpPr/>
          <p:nvPr/>
        </p:nvSpPr>
        <p:spPr>
          <a:xfrm>
            <a:off x="618719" y="2800062"/>
            <a:ext cx="5718286" cy="5070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 b="1" i="1">
                <a:solidFill>
                  <a:srgbClr val="0067FF"/>
                </a:solidFill>
                <a:latin typeface="Titillium Web" panose="00000500000000000000" pitchFamily="2" charset="0"/>
              </a:rPr>
              <a:t>#PartiamoDaVoi</a:t>
            </a: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xmlns="" id="{A9FBEFF4-A73C-4322-B294-16BA168395B3}"/>
              </a:ext>
            </a:extLst>
          </p:cNvPr>
          <p:cNvSpPr/>
          <p:nvPr/>
        </p:nvSpPr>
        <p:spPr>
          <a:xfrm>
            <a:off x="661664" y="4906655"/>
            <a:ext cx="3825708" cy="297703"/>
          </a:xfrm>
          <a:prstGeom prst="rect">
            <a:avLst/>
          </a:prstGeom>
          <a:solidFill>
            <a:srgbClr val="006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xmlns="" id="{4BCAA738-E827-4758-A932-77EECF1D961B}"/>
              </a:ext>
            </a:extLst>
          </p:cNvPr>
          <p:cNvSpPr/>
          <p:nvPr/>
        </p:nvSpPr>
        <p:spPr>
          <a:xfrm>
            <a:off x="618718" y="3603171"/>
            <a:ext cx="5824611" cy="16696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000">
                <a:latin typeface="Titillium Web" panose="00000500000000000000" pitchFamily="2" charset="0"/>
              </a:rPr>
              <a:t>La vostra esperienza è fondamentale per comprendere le necessità della didattica e identificare le modalità più efficaci per la </a:t>
            </a:r>
            <a:r>
              <a:rPr lang="it-IT" sz="2000" b="1">
                <a:solidFill>
                  <a:schemeClr val="bg1"/>
                </a:solidFill>
                <a:latin typeface="Titillium Web" panose="00000500000000000000" pitchFamily="2" charset="0"/>
              </a:rPr>
              <a:t>riprogettazione e l’attualizzazione </a:t>
            </a:r>
            <a:r>
              <a:rPr lang="it-IT" sz="2000">
                <a:latin typeface="Titillium Web" panose="00000500000000000000" pitchFamily="2" charset="0"/>
              </a:rPr>
              <a:t>del PNSD.</a:t>
            </a:r>
          </a:p>
        </p:txBody>
      </p:sp>
      <p:cxnSp>
        <p:nvCxnSpPr>
          <p:cNvPr id="20" name="Connettore diritto 19">
            <a:extLst>
              <a:ext uri="{FF2B5EF4-FFF2-40B4-BE49-F238E27FC236}">
                <a16:creationId xmlns:a16="http://schemas.microsoft.com/office/drawing/2014/main" xmlns="" id="{40F8125B-E6D9-4316-B800-E6A2CDC7614F}"/>
              </a:ext>
            </a:extLst>
          </p:cNvPr>
          <p:cNvCxnSpPr>
            <a:cxnSpLocks/>
          </p:cNvCxnSpPr>
          <p:nvPr/>
        </p:nvCxnSpPr>
        <p:spPr>
          <a:xfrm>
            <a:off x="4105750" y="4018981"/>
            <a:ext cx="1656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46071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xmlns="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xmlns="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Connettore diritto 21">
            <a:extLst>
              <a:ext uri="{FF2B5EF4-FFF2-40B4-BE49-F238E27FC236}">
                <a16:creationId xmlns:a16="http://schemas.microsoft.com/office/drawing/2014/main" xmlns="" id="{2D0E606A-9ACF-43B8-983C-1DE56D9861AE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uppo 22">
            <a:extLst>
              <a:ext uri="{FF2B5EF4-FFF2-40B4-BE49-F238E27FC236}">
                <a16:creationId xmlns:a16="http://schemas.microsoft.com/office/drawing/2014/main" xmlns="" id="{D7989DAE-BF60-4875-B218-EB0AD6E7EB52}"/>
              </a:ext>
            </a:extLst>
          </p:cNvPr>
          <p:cNvGrpSpPr/>
          <p:nvPr/>
        </p:nvGrpSpPr>
        <p:grpSpPr>
          <a:xfrm>
            <a:off x="620287" y="1275148"/>
            <a:ext cx="10738129" cy="3455328"/>
            <a:chOff x="620287" y="1402740"/>
            <a:chExt cx="10738129" cy="3455328"/>
          </a:xfrm>
        </p:grpSpPr>
        <p:sp>
          <p:nvSpPr>
            <p:cNvPr id="15" name="Rettangolo 14">
              <a:extLst>
                <a:ext uri="{FF2B5EF4-FFF2-40B4-BE49-F238E27FC236}">
                  <a16:creationId xmlns:a16="http://schemas.microsoft.com/office/drawing/2014/main" xmlns="" id="{1DF26962-D797-4E92-872B-BD83F651E0E6}"/>
                </a:ext>
              </a:extLst>
            </p:cNvPr>
            <p:cNvSpPr/>
            <p:nvPr/>
          </p:nvSpPr>
          <p:spPr>
            <a:xfrm>
              <a:off x="620287" y="1402740"/>
              <a:ext cx="10738129" cy="6955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lnSpc>
                  <a:spcPct val="130000"/>
                </a:lnSpc>
                <a:spcAft>
                  <a:spcPts val="600"/>
                </a:spcAft>
              </a:pPr>
              <a:r>
                <a:rPr lang="it-IT" sz="3200" b="1">
                  <a:latin typeface="Baguet Script" panose="00000500000000000000" pitchFamily="2" charset="0"/>
                </a:rPr>
                <a:t>Fa’ sentire la tua voce</a:t>
              </a:r>
              <a:endParaRPr lang="it-IT" sz="3200">
                <a:latin typeface="Baguet Script" panose="00000500000000000000" pitchFamily="2" charset="0"/>
              </a:endParaRPr>
            </a:p>
          </p:txBody>
        </p:sp>
        <p:grpSp>
          <p:nvGrpSpPr>
            <p:cNvPr id="17" name="Gruppo 16">
              <a:extLst>
                <a:ext uri="{FF2B5EF4-FFF2-40B4-BE49-F238E27FC236}">
                  <a16:creationId xmlns:a16="http://schemas.microsoft.com/office/drawing/2014/main" xmlns="" id="{076177EB-1813-4432-A81E-93AF76B888F8}"/>
                </a:ext>
              </a:extLst>
            </p:cNvPr>
            <p:cNvGrpSpPr/>
            <p:nvPr/>
          </p:nvGrpSpPr>
          <p:grpSpPr>
            <a:xfrm>
              <a:off x="763571" y="2745063"/>
              <a:ext cx="6787299" cy="2113005"/>
              <a:chOff x="763571" y="2745063"/>
              <a:chExt cx="6787299" cy="2113005"/>
            </a:xfrm>
          </p:grpSpPr>
          <p:grpSp>
            <p:nvGrpSpPr>
              <p:cNvPr id="10" name="Gruppo 9">
                <a:extLst>
                  <a:ext uri="{FF2B5EF4-FFF2-40B4-BE49-F238E27FC236}">
                    <a16:creationId xmlns:a16="http://schemas.microsoft.com/office/drawing/2014/main" xmlns="" id="{A9C88F27-568D-4917-830E-EB6291C00F36}"/>
                  </a:ext>
                </a:extLst>
              </p:cNvPr>
              <p:cNvGrpSpPr/>
              <p:nvPr/>
            </p:nvGrpSpPr>
            <p:grpSpPr>
              <a:xfrm>
                <a:off x="763571" y="2745063"/>
                <a:ext cx="6787299" cy="803669"/>
                <a:chOff x="763571" y="2745063"/>
                <a:chExt cx="6787299" cy="803669"/>
              </a:xfrm>
            </p:grpSpPr>
            <p:sp>
              <p:nvSpPr>
                <p:cNvPr id="6" name="CasellaDiTesto 5">
                  <a:extLst>
                    <a:ext uri="{FF2B5EF4-FFF2-40B4-BE49-F238E27FC236}">
                      <a16:creationId xmlns:a16="http://schemas.microsoft.com/office/drawing/2014/main" xmlns="" id="{DCF0543D-C101-43C7-A0D6-85FC9C2CEEFB}"/>
                    </a:ext>
                  </a:extLst>
                </p:cNvPr>
                <p:cNvSpPr txBox="1"/>
                <p:nvPr/>
              </p:nvSpPr>
              <p:spPr>
                <a:xfrm>
                  <a:off x="1649690" y="2745063"/>
                  <a:ext cx="5901180" cy="76944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2000" b="1" cap="small">
                      <a:latin typeface="Titillium Web" panose="00000500000000000000" pitchFamily="2" charset="0"/>
                    </a:rPr>
                    <a:t>Quando</a:t>
                  </a:r>
                  <a:endParaRPr lang="it-IT" sz="1600" b="1" cap="small">
                    <a:latin typeface="Titillium Web" panose="00000500000000000000" pitchFamily="2" charset="0"/>
                  </a:endParaRPr>
                </a:p>
                <a:p>
                  <a:r>
                    <a:rPr lang="it-IT" sz="2400">
                      <a:latin typeface="Titillium Web" panose="00000500000000000000" pitchFamily="2" charset="0"/>
                    </a:rPr>
                    <a:t>Fino alle 23:59 del 15 novembre 2022</a:t>
                  </a:r>
                </a:p>
              </p:txBody>
            </p:sp>
            <p:grpSp>
              <p:nvGrpSpPr>
                <p:cNvPr id="8" name="Gruppo 7">
                  <a:extLst>
                    <a:ext uri="{FF2B5EF4-FFF2-40B4-BE49-F238E27FC236}">
                      <a16:creationId xmlns:a16="http://schemas.microsoft.com/office/drawing/2014/main" xmlns="" id="{57A5113F-5E42-4536-979A-F19D035C3838}"/>
                    </a:ext>
                  </a:extLst>
                </p:cNvPr>
                <p:cNvGrpSpPr/>
                <p:nvPr/>
              </p:nvGrpSpPr>
              <p:grpSpPr>
                <a:xfrm>
                  <a:off x="763571" y="2772391"/>
                  <a:ext cx="763571" cy="776341"/>
                  <a:chOff x="763571" y="3038208"/>
                  <a:chExt cx="763571" cy="776341"/>
                </a:xfrm>
              </p:grpSpPr>
              <p:sp>
                <p:nvSpPr>
                  <p:cNvPr id="5" name="Rettangolo 4">
                    <a:extLst>
                      <a:ext uri="{FF2B5EF4-FFF2-40B4-BE49-F238E27FC236}">
                        <a16:creationId xmlns:a16="http://schemas.microsoft.com/office/drawing/2014/main" xmlns="" id="{ACBEAF19-7896-4CD1-9645-1E8CA2CDFD20}"/>
                      </a:ext>
                    </a:extLst>
                  </p:cNvPr>
                  <p:cNvSpPr/>
                  <p:nvPr/>
                </p:nvSpPr>
                <p:spPr>
                  <a:xfrm>
                    <a:off x="763571" y="3038208"/>
                    <a:ext cx="763571" cy="776341"/>
                  </a:xfrm>
                  <a:prstGeom prst="rect">
                    <a:avLst/>
                  </a:prstGeom>
                  <a:solidFill>
                    <a:srgbClr val="FD29A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pic>
                <p:nvPicPr>
                  <p:cNvPr id="9" name="Elemento grafico 8" descr="Calendario giornaliero con riempimento a tinta unita">
                    <a:extLst>
                      <a:ext uri="{FF2B5EF4-FFF2-40B4-BE49-F238E27FC236}">
                        <a16:creationId xmlns:a16="http://schemas.microsoft.com/office/drawing/2014/main" xmlns="" id="{65139D4D-87E4-4532-A362-BA8A098E49E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xmlns="" r:embed="rId8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81649" y="3162672"/>
                    <a:ext cx="527413" cy="527413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16" name="Gruppo 15">
                <a:extLst>
                  <a:ext uri="{FF2B5EF4-FFF2-40B4-BE49-F238E27FC236}">
                    <a16:creationId xmlns:a16="http://schemas.microsoft.com/office/drawing/2014/main" xmlns="" id="{E9EF1465-C413-4C3C-84DD-31F7E837180A}"/>
                  </a:ext>
                </a:extLst>
              </p:cNvPr>
              <p:cNvGrpSpPr/>
              <p:nvPr/>
            </p:nvGrpSpPr>
            <p:grpSpPr>
              <a:xfrm>
                <a:off x="763571" y="4081727"/>
                <a:ext cx="6787299" cy="776341"/>
                <a:chOff x="763571" y="4081727"/>
                <a:chExt cx="6787299" cy="776341"/>
              </a:xfrm>
            </p:grpSpPr>
            <p:grpSp>
              <p:nvGrpSpPr>
                <p:cNvPr id="13" name="Gruppo 12">
                  <a:extLst>
                    <a:ext uri="{FF2B5EF4-FFF2-40B4-BE49-F238E27FC236}">
                      <a16:creationId xmlns:a16="http://schemas.microsoft.com/office/drawing/2014/main" xmlns="" id="{E99B019B-5FD6-4ECC-BD17-4714F2078E3E}"/>
                    </a:ext>
                  </a:extLst>
                </p:cNvPr>
                <p:cNvGrpSpPr/>
                <p:nvPr/>
              </p:nvGrpSpPr>
              <p:grpSpPr>
                <a:xfrm>
                  <a:off x="763571" y="4081727"/>
                  <a:ext cx="763571" cy="776341"/>
                  <a:chOff x="763571" y="4081727"/>
                  <a:chExt cx="763571" cy="776341"/>
                </a:xfrm>
              </p:grpSpPr>
              <p:sp>
                <p:nvSpPr>
                  <p:cNvPr id="2" name="Rettangolo 20">
                    <a:extLst>
                      <a:ext uri="{FF2B5EF4-FFF2-40B4-BE49-F238E27FC236}">
                        <a16:creationId xmlns:a16="http://schemas.microsoft.com/office/drawing/2014/main" xmlns="" id="{A68C130A-C287-49C8-95EE-48C8F3FE9BFF}"/>
                      </a:ext>
                    </a:extLst>
                  </p:cNvPr>
                  <p:cNvSpPr/>
                  <p:nvPr/>
                </p:nvSpPr>
                <p:spPr>
                  <a:xfrm>
                    <a:off x="763571" y="4081727"/>
                    <a:ext cx="763571" cy="776341"/>
                  </a:xfrm>
                  <a:prstGeom prst="rect">
                    <a:avLst/>
                  </a:prstGeom>
                  <a:solidFill>
                    <a:srgbClr val="0067F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pic>
                <p:nvPicPr>
                  <p:cNvPr id="11" name="Elemento grafico 10" descr="Cursore contorno">
                    <a:extLst>
                      <a:ext uri="{FF2B5EF4-FFF2-40B4-BE49-F238E27FC236}">
                        <a16:creationId xmlns:a16="http://schemas.microsoft.com/office/drawing/2014/main" xmlns="" id="{392CAF6F-8538-4BE4-B512-E9BC020069A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xmlns="" r:embed="rId1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17772" y="4127353"/>
                    <a:ext cx="677159" cy="677159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18" name="CasellaDiTesto 17">
                  <a:extLst>
                    <a:ext uri="{FF2B5EF4-FFF2-40B4-BE49-F238E27FC236}">
                      <a16:creationId xmlns:a16="http://schemas.microsoft.com/office/drawing/2014/main" xmlns="" id="{B36E046D-2484-4F14-BD51-E36B1782D08B}"/>
                    </a:ext>
                  </a:extLst>
                </p:cNvPr>
                <p:cNvSpPr txBox="1"/>
                <p:nvPr/>
              </p:nvSpPr>
              <p:spPr>
                <a:xfrm>
                  <a:off x="1649690" y="4085177"/>
                  <a:ext cx="5901180" cy="76944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2000" b="1" cap="small">
                      <a:latin typeface="Titillium Web" panose="00000500000000000000" pitchFamily="2" charset="0"/>
                    </a:rPr>
                    <a:t>Come</a:t>
                  </a:r>
                  <a:endParaRPr lang="it-IT" sz="1600" b="1" cap="small">
                    <a:latin typeface="Titillium Web" panose="00000500000000000000" pitchFamily="2" charset="0"/>
                  </a:endParaRPr>
                </a:p>
                <a:p>
                  <a:r>
                    <a:rPr lang="it-IT" sz="2400">
                      <a:latin typeface="Titillium Web" panose="00000500000000000000" pitchFamily="2" charset="0"/>
                    </a:rPr>
                    <a:t>Compilando il questionario a questo </a:t>
                  </a:r>
                  <a:r>
                    <a:rPr lang="it-IT" sz="2400" b="1" u="sng">
                      <a:latin typeface="Titillium Web" panose="00000500000000000000" pitchFamily="2" charset="0"/>
                      <a:hlinkClick r:id="rId11">
                        <a:extLst>
                          <a:ext uri="{A12FA001-AC4F-418D-AE19-62706E023703}">
                            <ahyp:hlinkClr xmlns:ahyp="http://schemas.microsoft.com/office/drawing/2018/hyperlinkcolor" xmlns="" val="tx"/>
                          </a:ext>
                        </a:extLst>
                      </a:hlinkClick>
                    </a:rPr>
                    <a:t>link</a:t>
                  </a:r>
                  <a:endParaRPr lang="it-IT" sz="2400" b="1" u="sng">
                    <a:latin typeface="Titillium Web" panose="00000500000000000000" pitchFamily="2" charset="0"/>
                  </a:endParaRPr>
                </a:p>
              </p:txBody>
            </p:sp>
          </p:grpSp>
        </p:grpSp>
      </p:grpSp>
      <p:sp>
        <p:nvSpPr>
          <p:cNvPr id="19" name="Rettangolo 18">
            <a:extLst>
              <a:ext uri="{FF2B5EF4-FFF2-40B4-BE49-F238E27FC236}">
                <a16:creationId xmlns:a16="http://schemas.microsoft.com/office/drawing/2014/main" xmlns="" id="{A213E0C7-1FD3-413F-AD7F-B520DD2952E8}"/>
              </a:ext>
            </a:extLst>
          </p:cNvPr>
          <p:cNvSpPr/>
          <p:nvPr/>
        </p:nvSpPr>
        <p:spPr>
          <a:xfrm>
            <a:off x="619017" y="5030485"/>
            <a:ext cx="10953965" cy="4128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1700" i="1">
                <a:latin typeface="Titillium Web" panose="00000500000000000000" pitchFamily="2" charset="0"/>
              </a:rPr>
              <a:t>Faremo tesoro del tuo contributo!</a:t>
            </a: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xmlns="" id="{58B27459-BB2C-42C7-B42C-F6804A61B648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pic>
        <p:nvPicPr>
          <p:cNvPr id="36" name="Immagine 35">
            <a:extLst>
              <a:ext uri="{FF2B5EF4-FFF2-40B4-BE49-F238E27FC236}">
                <a16:creationId xmlns:a16="http://schemas.microsoft.com/office/drawing/2014/main" xmlns="" id="{92C65E93-ED29-4558-B201-78A9510E289B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500" y="1555900"/>
            <a:ext cx="3787200" cy="3787200"/>
          </a:xfrm>
          <a:prstGeom prst="rect">
            <a:avLst/>
          </a:prstGeom>
        </p:spPr>
      </p:pic>
      <p:sp>
        <p:nvSpPr>
          <p:cNvPr id="37" name="Rettangolo 36">
            <a:extLst>
              <a:ext uri="{FF2B5EF4-FFF2-40B4-BE49-F238E27FC236}">
                <a16:creationId xmlns:a16="http://schemas.microsoft.com/office/drawing/2014/main" xmlns="" id="{D5195B3F-414B-41BA-91CC-C0EF3F1ABCD7}"/>
              </a:ext>
            </a:extLst>
          </p:cNvPr>
          <p:cNvSpPr/>
          <p:nvPr/>
        </p:nvSpPr>
        <p:spPr>
          <a:xfrm>
            <a:off x="8107702" y="5327668"/>
            <a:ext cx="292079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it-IT" sz="1200" i="1">
                <a:latin typeface="Titillium Web" panose="00000500000000000000" pitchFamily="2" charset="0"/>
              </a:rPr>
              <a:t>Inquadra al QR-code per accedere più  rapidamente al questionario</a:t>
            </a:r>
          </a:p>
        </p:txBody>
      </p:sp>
    </p:spTree>
    <p:extLst>
      <p:ext uri="{BB962C8B-B14F-4D97-AF65-F5344CB8AC3E}">
        <p14:creationId xmlns:p14="http://schemas.microsoft.com/office/powerpoint/2010/main" val="4057252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2.dZonBK2eHXzbSEpX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291</Words>
  <Application>Microsoft Office PowerPoint</Application>
  <PresentationFormat>Personalizzato</PresentationFormat>
  <Paragraphs>30</Paragraphs>
  <Slides>5</Slides>
  <Notes>5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5</vt:i4>
      </vt:variant>
    </vt:vector>
  </HeadingPairs>
  <TitlesOfParts>
    <vt:vector size="8" baseType="lpstr">
      <vt:lpstr>Tema di Office</vt:lpstr>
      <vt:lpstr>1_Tema di Office</vt:lpstr>
      <vt:lpstr>Diapositiva think-cell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Laurelli, Anastasia</dc:creator>
  <cp:lastModifiedBy>Preside</cp:lastModifiedBy>
  <cp:revision>3</cp:revision>
  <dcterms:created xsi:type="dcterms:W3CDTF">2022-10-21T14:04:45Z</dcterms:created>
  <dcterms:modified xsi:type="dcterms:W3CDTF">2022-11-08T11:16:52Z</dcterms:modified>
</cp:coreProperties>
</file>